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8D9B1E25-6D16-41F1-956F-BF2EC7023D40}">
          <p14:sldIdLst>
            <p14:sldId id="2147477365"/>
            <p14:sldId id="2147477366"/>
            <p14:sldId id="2147477367"/>
          </p14:sldIdLst>
        </p14:section>
        <p14:section name="Sector Shelf Price/Vol Comparison" id="{CE0FC111-6C9A-46B3-8115-062C1A927897}">
          <p14:sldIdLst>
            <p14:sldId id="2147477368"/>
            <p14:sldId id="2147477369"/>
            <p14:sldId id="2147477370"/>
          </p14:sldIdLst>
        </p14:section>
        <p14:section name="Segment Avg Price/Vol Comparison" id="{1CD7E856-842D-4EFA-8B09-F6A85FEF7B8F}">
          <p14:sldIdLst>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Shelf Price/Vol Comparison" id="{9A31BBC8-EF56-472D-A3E8-073AE7EC4B27}">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1881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6010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525295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88057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5595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75129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2525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48114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31307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32763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554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96040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14458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98255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74536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64663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1267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9058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09298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49676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48847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130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75923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44039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4180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45609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27238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817682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616019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06851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69888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936230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4785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55134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14687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93222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26714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6869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3453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4297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3289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2823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158</Words>
  <Application>Microsoft Office PowerPoint</Application>
  <PresentationFormat>On-screen Show (16:9)</PresentationFormat>
  <Paragraphs>882</Paragraphs>
  <Slides>42</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7T15:2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